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68" r:id="rId1"/>
  </p:sldMasterIdLst>
  <p:notesMasterIdLst>
    <p:notesMasterId r:id="rId7"/>
  </p:notesMasterIdLst>
  <p:handoutMasterIdLst>
    <p:handoutMasterId r:id="rId8"/>
  </p:handoutMasterIdLst>
  <p:sldIdLst>
    <p:sldId id="891" r:id="rId2"/>
    <p:sldId id="892" r:id="rId3"/>
    <p:sldId id="899" r:id="rId4"/>
    <p:sldId id="893" r:id="rId5"/>
    <p:sldId id="894" r:id="rId6"/>
  </p:sldIdLst>
  <p:sldSz cx="9144000" cy="6858000" type="screen4x3"/>
  <p:notesSz cx="6797675" cy="9926638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9632"/>
    <a:srgbClr val="FFCC00"/>
    <a:srgbClr val="EBB01D"/>
    <a:srgbClr val="00FF00"/>
    <a:srgbClr val="6CF8F8"/>
    <a:srgbClr val="006699"/>
    <a:srgbClr val="00CC00"/>
    <a:srgbClr val="FFFF00"/>
    <a:srgbClr val="FFFF99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8746" autoAdjust="0"/>
  </p:normalViewPr>
  <p:slideViewPr>
    <p:cSldViewPr>
      <p:cViewPr varScale="1">
        <p:scale>
          <a:sx n="70" d="100"/>
          <a:sy n="70" d="100"/>
        </p:scale>
        <p:origin x="1180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-2970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2AB07B-BC8F-4B4C-A891-ADA65E358415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DCB65C-BF1D-4422-BB23-896975765889}" type="slidenum">
              <a:rPr lang="es-PE" smtClean="0"/>
              <a:pPr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15531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CF2CCF-B5ED-444E-9F4A-B98C7466FDA0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778D3-236A-42A3-A7F6-E4750E2535F9}" type="slidenum">
              <a:rPr lang="es-PE" smtClean="0"/>
              <a:pPr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151802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2778D3-236A-42A3-A7F6-E4750E2535F9}" type="slidenum">
              <a:rPr lang="es-PE" smtClean="0"/>
              <a:pPr/>
              <a:t>1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056665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2778D3-236A-42A3-A7F6-E4750E2535F9}" type="slidenum">
              <a:rPr lang="es-PE" smtClean="0"/>
              <a:pPr/>
              <a:t>2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48748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22 Rectángulo"/>
          <p:cNvSpPr/>
          <p:nvPr/>
        </p:nvSpPr>
        <p:spPr>
          <a:xfrm flipV="1">
            <a:off x="5410182" y="3810000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4" name="23 Rectángulo"/>
          <p:cNvSpPr/>
          <p:nvPr/>
        </p:nvSpPr>
        <p:spPr>
          <a:xfrm flipV="1">
            <a:off x="5410200" y="3897010"/>
            <a:ext cx="3733801" cy="192024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5" name="24 Rectángulo"/>
          <p:cNvSpPr/>
          <p:nvPr/>
        </p:nvSpPr>
        <p:spPr>
          <a:xfrm flipV="1">
            <a:off x="5410200" y="4115167"/>
            <a:ext cx="3733801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6" name="25 Rectángulo"/>
          <p:cNvSpPr/>
          <p:nvPr/>
        </p:nvSpPr>
        <p:spPr>
          <a:xfrm flipV="1">
            <a:off x="5410200" y="4164403"/>
            <a:ext cx="1965960" cy="1828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Rectángulo"/>
          <p:cNvSpPr/>
          <p:nvPr/>
        </p:nvSpPr>
        <p:spPr>
          <a:xfrm flipV="1">
            <a:off x="5410200" y="4199572"/>
            <a:ext cx="1965960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0" name="29 Rectángulo redondeado"/>
          <p:cNvSpPr/>
          <p:nvPr/>
        </p:nvSpPr>
        <p:spPr bwMode="white">
          <a:xfrm>
            <a:off x="5410200" y="3962400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1" name="30 Rectángulo redondeado"/>
          <p:cNvSpPr/>
          <p:nvPr/>
        </p:nvSpPr>
        <p:spPr bwMode="white">
          <a:xfrm>
            <a:off x="7376507" y="406098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Rectángulo"/>
          <p:cNvSpPr/>
          <p:nvPr/>
        </p:nvSpPr>
        <p:spPr>
          <a:xfrm>
            <a:off x="1" y="3649662"/>
            <a:ext cx="9144000" cy="244170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0" y="3675527"/>
            <a:ext cx="9144001" cy="14067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 flipV="1">
            <a:off x="6414051" y="3643090"/>
            <a:ext cx="2729950" cy="2484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18 Rectángulo"/>
          <p:cNvSpPr/>
          <p:nvPr/>
        </p:nvSpPr>
        <p:spPr>
          <a:xfrm>
            <a:off x="0" y="0"/>
            <a:ext cx="9144000" cy="370170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>
          <a:xfrm>
            <a:off x="6705600" y="4206240"/>
            <a:ext cx="960120" cy="457200"/>
          </a:xfrm>
        </p:spPr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/>
          <a:p>
            <a:endParaRPr lang="es-PE" dirty="0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320088" y="1136"/>
            <a:ext cx="747712" cy="36576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51520" y="692696"/>
            <a:ext cx="5421083" cy="365125"/>
          </a:xfrm>
        </p:spPr>
        <p:txBody>
          <a:bodyPr/>
          <a:lstStyle>
            <a:lvl1pPr algn="l">
              <a:defRPr sz="3000" b="1">
                <a:solidFill>
                  <a:srgbClr val="669900"/>
                </a:solidFill>
                <a:latin typeface="Century Gothic" pitchFamily="34" charset="0"/>
              </a:defRPr>
            </a:lvl1pPr>
          </a:lstStyle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  <p:sp>
        <p:nvSpPr>
          <p:cNvPr id="12" name="11 CuadroTexto"/>
          <p:cNvSpPr txBox="1"/>
          <p:nvPr userDrawn="1"/>
        </p:nvSpPr>
        <p:spPr>
          <a:xfrm>
            <a:off x="179512" y="2012355"/>
            <a:ext cx="8352928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endParaRPr lang="es-PE" b="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27" name="26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  <p:sp>
        <p:nvSpPr>
          <p:cNvPr id="28" name="27 Marcador de pie de página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es-P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6583680" y="612648"/>
            <a:ext cx="957264" cy="457200"/>
          </a:xfrm>
        </p:spPr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5257800" y="612648"/>
            <a:ext cx="1325880" cy="457200"/>
          </a:xfrm>
        </p:spPr>
        <p:txBody>
          <a:bodyPr/>
          <a:lstStyle/>
          <a:p>
            <a:endParaRPr lang="es-PE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Rectángulo"/>
          <p:cNvSpPr/>
          <p:nvPr/>
        </p:nvSpPr>
        <p:spPr>
          <a:xfrm>
            <a:off x="1" y="366818"/>
            <a:ext cx="9144000" cy="844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Rectángulo"/>
          <p:cNvSpPr/>
          <p:nvPr/>
        </p:nvSpPr>
        <p:spPr>
          <a:xfrm>
            <a:off x="0" y="-1"/>
            <a:ext cx="9144000" cy="310663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0" name="29 Rectángulo"/>
          <p:cNvSpPr/>
          <p:nvPr/>
        </p:nvSpPr>
        <p:spPr>
          <a:xfrm>
            <a:off x="0" y="308276"/>
            <a:ext cx="9144001" cy="9144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1" name="30 Rectángulo"/>
          <p:cNvSpPr/>
          <p:nvPr/>
        </p:nvSpPr>
        <p:spPr>
          <a:xfrm flipV="1">
            <a:off x="5410182" y="360246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31 Rectángulo"/>
          <p:cNvSpPr/>
          <p:nvPr/>
        </p:nvSpPr>
        <p:spPr>
          <a:xfrm flipV="1">
            <a:off x="5410200" y="440112"/>
            <a:ext cx="3733801" cy="18003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3" name="32 Rectángulo redondeado"/>
          <p:cNvSpPr/>
          <p:nvPr/>
        </p:nvSpPr>
        <p:spPr bwMode="white">
          <a:xfrm>
            <a:off x="5407339" y="497504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4" name="33 Rectángulo redondeado"/>
          <p:cNvSpPr/>
          <p:nvPr/>
        </p:nvSpPr>
        <p:spPr bwMode="white">
          <a:xfrm>
            <a:off x="7373646" y="58894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5" name="34 Rectángulo"/>
          <p:cNvSpPr/>
          <p:nvPr/>
        </p:nvSpPr>
        <p:spPr bwMode="invGray">
          <a:xfrm>
            <a:off x="9084966" y="-2001"/>
            <a:ext cx="57626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35 Rectángulo"/>
          <p:cNvSpPr/>
          <p:nvPr/>
        </p:nvSpPr>
        <p:spPr bwMode="invGray">
          <a:xfrm>
            <a:off x="9044481" y="-2001"/>
            <a:ext cx="27432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36 Rectángulo"/>
          <p:cNvSpPr/>
          <p:nvPr/>
        </p:nvSpPr>
        <p:spPr bwMode="invGray">
          <a:xfrm>
            <a:off x="9025428" y="-2001"/>
            <a:ext cx="9144" cy="621792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8" name="37 Rectángulo"/>
          <p:cNvSpPr/>
          <p:nvPr/>
        </p:nvSpPr>
        <p:spPr bwMode="invGray">
          <a:xfrm>
            <a:off x="8975423" y="-2001"/>
            <a:ext cx="27432" cy="621792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9" name="38 Rectángulo"/>
          <p:cNvSpPr/>
          <p:nvPr/>
        </p:nvSpPr>
        <p:spPr bwMode="invGray">
          <a:xfrm>
            <a:off x="8915677" y="380"/>
            <a:ext cx="54864" cy="585216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40" name="39 Rectángulo"/>
          <p:cNvSpPr/>
          <p:nvPr/>
        </p:nvSpPr>
        <p:spPr bwMode="invGray">
          <a:xfrm>
            <a:off x="8873475" y="380"/>
            <a:ext cx="9144" cy="585216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68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457200" y="2249424"/>
            <a:ext cx="8229600" cy="432511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586536" y="612648"/>
            <a:ext cx="957264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fld id="{3BE71404-3EDD-4F3D-A85B-97E637469669}" type="datetimeFigureOut">
              <a:rPr lang="es-PE" smtClean="0"/>
              <a:pPr/>
              <a:t>21/11/2017</a:t>
            </a:fld>
            <a:endParaRPr lang="es-PE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5257800" y="612648"/>
            <a:ext cx="1325880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174736" y="2272"/>
            <a:ext cx="762000" cy="36576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fld id="{93B1B784-F88A-404D-BBB0-8A14B067DE0E}" type="slidenum">
              <a:rPr lang="es-PE" smtClean="0"/>
              <a:pPr/>
              <a:t>‹Nº›</a:t>
            </a:fld>
            <a:endParaRPr lang="es-P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-36512" y="337220"/>
            <a:ext cx="9145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3600" b="1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Nombre de la Iniciativa</a:t>
            </a:r>
            <a:endParaRPr lang="es-PE" sz="3600" b="1" dirty="0">
              <a:solidFill>
                <a:schemeClr val="bg2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843808" y="4761646"/>
            <a:ext cx="6264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PE" sz="2000" dirty="0" smtClean="0">
                <a:latin typeface="Century Gothic" panose="020B0502020202020204" pitchFamily="34" charset="0"/>
              </a:rPr>
              <a:t>201x</a:t>
            </a:r>
            <a:endParaRPr lang="es-PE" sz="2000" dirty="0">
              <a:latin typeface="Century Gothic" panose="020B050202020202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2915816" y="4269784"/>
            <a:ext cx="6264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PE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Plan Estratégico</a:t>
            </a:r>
            <a:endParaRPr lang="es-PE" sz="36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0" y="2701365"/>
            <a:ext cx="332372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0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royectado: xx%</a:t>
            </a:r>
          </a:p>
          <a:p>
            <a:r>
              <a:rPr lang="es-PE" sz="20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Real: xx%</a:t>
            </a:r>
          </a:p>
          <a:p>
            <a:r>
              <a:rPr lang="es-PE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Mes)</a:t>
            </a:r>
          </a:p>
          <a:p>
            <a:endParaRPr lang="es-PE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2 Marcador de contenido"/>
          <p:cNvSpPr txBox="1">
            <a:spLocks/>
          </p:cNvSpPr>
          <p:nvPr/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/>
          <a:lstStyle>
            <a:lvl1pPr marL="365760" indent="-256032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46888" algn="l" rtl="0" eaLnBrk="1" latinLnBrk="0" hangingPunct="1">
              <a:spcBef>
                <a:spcPts val="300"/>
              </a:spcBef>
              <a:buClr>
                <a:schemeClr val="accent2"/>
              </a:buClr>
              <a:buFont typeface="Georgia"/>
              <a:buChar char="▫"/>
              <a:defRPr kumimoji="0" sz="2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23544" indent="-219456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179576" indent="-201168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8988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/>
              <a:buNone/>
            </a:pPr>
            <a:r>
              <a:rPr lang="es-PE" dirty="0" smtClean="0">
                <a:solidFill>
                  <a:schemeClr val="bg2">
                    <a:lumMod val="50000"/>
                  </a:schemeClr>
                </a:solidFill>
                <a:latin typeface="Calibri" pitchFamily="34" charset="0"/>
              </a:rPr>
              <a:t>Resumir brevemente la visión de la iniciativa y como se ve al 201X</a:t>
            </a:r>
            <a:endParaRPr lang="es-PE" dirty="0">
              <a:solidFill>
                <a:schemeClr val="bg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24616" y="476672"/>
            <a:ext cx="5123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Objetivo y Alcance</a:t>
            </a:r>
            <a:endParaRPr lang="es-PE" sz="28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0" y="428358"/>
            <a:ext cx="3923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Principales </a:t>
            </a:r>
            <a:r>
              <a:rPr lang="es-PE" sz="2800" b="1" dirty="0" err="1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subiniciativas</a:t>
            </a:r>
            <a:endParaRPr lang="es-PE" sz="28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211960" y="476672"/>
            <a:ext cx="493204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¿Cuáles </a:t>
            </a:r>
            <a:r>
              <a:rPr lang="es-PE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on las 4 principales </a:t>
            </a:r>
            <a:r>
              <a:rPr lang="es-PE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ubiniciativas</a:t>
            </a:r>
            <a:r>
              <a:rPr lang="es-PE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? </a:t>
            </a:r>
            <a:endParaRPr lang="es-PE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ángulo redondeado 3"/>
          <p:cNvSpPr/>
          <p:nvPr/>
        </p:nvSpPr>
        <p:spPr>
          <a:xfrm>
            <a:off x="1187624" y="5675650"/>
            <a:ext cx="5029700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 err="1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Subiniciativa</a:t>
            </a:r>
            <a:endParaRPr lang="es-PE" sz="2200" b="1" dirty="0">
              <a:solidFill>
                <a:schemeClr val="tx2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8" name="Rectángulo redondeado 3"/>
          <p:cNvSpPr/>
          <p:nvPr/>
        </p:nvSpPr>
        <p:spPr>
          <a:xfrm>
            <a:off x="179513" y="5675650"/>
            <a:ext cx="864096" cy="861199"/>
          </a:xfrm>
          <a:prstGeom prst="roundRect">
            <a:avLst>
              <a:gd name="adj" fmla="val 5309"/>
            </a:avLst>
          </a:prstGeom>
          <a:solidFill>
            <a:srgbClr val="5A9632">
              <a:alpha val="65098"/>
            </a:srgb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3600" b="1" dirty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4</a:t>
            </a:r>
          </a:p>
        </p:txBody>
      </p:sp>
      <p:sp>
        <p:nvSpPr>
          <p:cNvPr id="9" name="Rectángulo redondeado 3"/>
          <p:cNvSpPr/>
          <p:nvPr/>
        </p:nvSpPr>
        <p:spPr>
          <a:xfrm>
            <a:off x="6397316" y="5675650"/>
            <a:ext cx="2064786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Hito</a:t>
            </a:r>
          </a:p>
        </p:txBody>
      </p:sp>
      <p:sp>
        <p:nvSpPr>
          <p:cNvPr id="10" name="Rectángulo redondeado 3"/>
          <p:cNvSpPr/>
          <p:nvPr/>
        </p:nvSpPr>
        <p:spPr>
          <a:xfrm>
            <a:off x="1975297" y="1527989"/>
            <a:ext cx="3621817" cy="518458"/>
          </a:xfrm>
          <a:prstGeom prst="roundRect">
            <a:avLst>
              <a:gd name="adj" fmla="val 5309"/>
            </a:avLst>
          </a:prstGeom>
          <a:solidFill>
            <a:schemeClr val="tx1">
              <a:lumMod val="65000"/>
              <a:lumOff val="35000"/>
            </a:scheme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s-PE" sz="2000" b="1" dirty="0" err="1" smtClean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Subiniciativa</a:t>
            </a:r>
            <a:r>
              <a:rPr lang="es-PE" sz="3600" b="1" dirty="0" smtClean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 </a:t>
            </a:r>
            <a:endParaRPr lang="es-PE" sz="3600" b="1" dirty="0">
              <a:solidFill>
                <a:schemeClr val="bg1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11" name="Rectángulo redondeado 3"/>
          <p:cNvSpPr/>
          <p:nvPr/>
        </p:nvSpPr>
        <p:spPr>
          <a:xfrm>
            <a:off x="6756000" y="1527989"/>
            <a:ext cx="1538032" cy="518458"/>
          </a:xfrm>
          <a:prstGeom prst="roundRect">
            <a:avLst>
              <a:gd name="adj" fmla="val 5309"/>
            </a:avLst>
          </a:prstGeom>
          <a:solidFill>
            <a:schemeClr val="tx1">
              <a:lumMod val="65000"/>
              <a:lumOff val="35000"/>
            </a:scheme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 b="1" dirty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Hito</a:t>
            </a:r>
          </a:p>
        </p:txBody>
      </p:sp>
      <p:sp>
        <p:nvSpPr>
          <p:cNvPr id="12" name="Rectángulo redondeado 3"/>
          <p:cNvSpPr/>
          <p:nvPr/>
        </p:nvSpPr>
        <p:spPr>
          <a:xfrm>
            <a:off x="1187623" y="4552325"/>
            <a:ext cx="5029700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 err="1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Subiniciativa</a:t>
            </a:r>
            <a:endParaRPr lang="es-PE" sz="2200" b="1" dirty="0">
              <a:solidFill>
                <a:schemeClr val="tx2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13" name="Rectángulo redondeado 3"/>
          <p:cNvSpPr/>
          <p:nvPr/>
        </p:nvSpPr>
        <p:spPr>
          <a:xfrm>
            <a:off x="179512" y="4552325"/>
            <a:ext cx="864096" cy="861199"/>
          </a:xfrm>
          <a:prstGeom prst="roundRect">
            <a:avLst>
              <a:gd name="adj" fmla="val 5309"/>
            </a:avLst>
          </a:prstGeom>
          <a:solidFill>
            <a:srgbClr val="5A9632">
              <a:alpha val="65098"/>
            </a:srgb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3600" b="1" dirty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3</a:t>
            </a:r>
          </a:p>
        </p:txBody>
      </p:sp>
      <p:sp>
        <p:nvSpPr>
          <p:cNvPr id="14" name="Rectángulo redondeado 3"/>
          <p:cNvSpPr/>
          <p:nvPr/>
        </p:nvSpPr>
        <p:spPr>
          <a:xfrm>
            <a:off x="6397315" y="4552325"/>
            <a:ext cx="2064786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Hito</a:t>
            </a:r>
          </a:p>
        </p:txBody>
      </p:sp>
      <p:sp>
        <p:nvSpPr>
          <p:cNvPr id="15" name="Rectángulo redondeado 3"/>
          <p:cNvSpPr/>
          <p:nvPr/>
        </p:nvSpPr>
        <p:spPr>
          <a:xfrm>
            <a:off x="1187623" y="3429000"/>
            <a:ext cx="5029700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 err="1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Subiniciativa</a:t>
            </a:r>
            <a:endParaRPr lang="es-PE" sz="2200" b="1" dirty="0">
              <a:solidFill>
                <a:schemeClr val="tx2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16" name="Rectángulo redondeado 3"/>
          <p:cNvSpPr/>
          <p:nvPr/>
        </p:nvSpPr>
        <p:spPr>
          <a:xfrm>
            <a:off x="179512" y="3429000"/>
            <a:ext cx="864096" cy="861199"/>
          </a:xfrm>
          <a:prstGeom prst="roundRect">
            <a:avLst>
              <a:gd name="adj" fmla="val 5309"/>
            </a:avLst>
          </a:prstGeom>
          <a:solidFill>
            <a:srgbClr val="5A9632">
              <a:alpha val="65098"/>
            </a:srgb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3600" b="1" dirty="0" smtClean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2</a:t>
            </a:r>
            <a:endParaRPr lang="es-PE" sz="3600" b="1" dirty="0">
              <a:solidFill>
                <a:schemeClr val="bg1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17" name="Rectángulo redondeado 3"/>
          <p:cNvSpPr/>
          <p:nvPr/>
        </p:nvSpPr>
        <p:spPr>
          <a:xfrm>
            <a:off x="6397315" y="3429000"/>
            <a:ext cx="2064786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Hito</a:t>
            </a:r>
          </a:p>
        </p:txBody>
      </p:sp>
      <p:sp>
        <p:nvSpPr>
          <p:cNvPr id="18" name="Rectángulo redondeado 3"/>
          <p:cNvSpPr/>
          <p:nvPr/>
        </p:nvSpPr>
        <p:spPr>
          <a:xfrm>
            <a:off x="1187623" y="2305675"/>
            <a:ext cx="5029700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 err="1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Subiniciativa</a:t>
            </a:r>
            <a:endParaRPr lang="es-PE" sz="2200" b="1" dirty="0">
              <a:solidFill>
                <a:schemeClr val="tx2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19" name="Rectángulo redondeado 3"/>
          <p:cNvSpPr/>
          <p:nvPr/>
        </p:nvSpPr>
        <p:spPr>
          <a:xfrm>
            <a:off x="179512" y="2305675"/>
            <a:ext cx="864096" cy="861199"/>
          </a:xfrm>
          <a:prstGeom prst="roundRect">
            <a:avLst>
              <a:gd name="adj" fmla="val 5309"/>
            </a:avLst>
          </a:prstGeom>
          <a:solidFill>
            <a:srgbClr val="5A9632">
              <a:alpha val="65098"/>
            </a:srgbClr>
          </a:solidFill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3600" b="1" dirty="0" smtClean="0">
                <a:solidFill>
                  <a:schemeClr val="bg1"/>
                </a:solidFill>
                <a:latin typeface="Calibri" pitchFamily="34" charset="0"/>
                <a:ea typeface="ＭＳ Ｐゴシック"/>
                <a:cs typeface="Shark in the Water"/>
              </a:rPr>
              <a:t>1</a:t>
            </a:r>
            <a:endParaRPr lang="es-PE" sz="3600" b="1" dirty="0">
              <a:solidFill>
                <a:schemeClr val="bg1"/>
              </a:solidFill>
              <a:latin typeface="Calibri" pitchFamily="34" charset="0"/>
              <a:ea typeface="ＭＳ Ｐゴシック"/>
              <a:cs typeface="Shark in the Water"/>
            </a:endParaRPr>
          </a:p>
        </p:txBody>
      </p:sp>
      <p:sp>
        <p:nvSpPr>
          <p:cNvPr id="20" name="Rectángulo redondeado 3"/>
          <p:cNvSpPr/>
          <p:nvPr/>
        </p:nvSpPr>
        <p:spPr>
          <a:xfrm>
            <a:off x="6397315" y="2305675"/>
            <a:ext cx="2064786" cy="864096"/>
          </a:xfrm>
          <a:prstGeom prst="roundRect">
            <a:avLst>
              <a:gd name="adj" fmla="val 5309"/>
            </a:avLst>
          </a:prstGeom>
          <a:noFill/>
          <a:ln w="38100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200" b="1" dirty="0">
                <a:solidFill>
                  <a:schemeClr val="tx2"/>
                </a:solidFill>
                <a:latin typeface="Calibri" pitchFamily="34" charset="0"/>
                <a:ea typeface="ＭＳ Ｐゴシック"/>
                <a:cs typeface="Shark in the Water"/>
              </a:rPr>
              <a:t>Hito</a:t>
            </a:r>
          </a:p>
        </p:txBody>
      </p:sp>
    </p:spTree>
    <p:extLst>
      <p:ext uri="{BB962C8B-B14F-4D97-AF65-F5344CB8AC3E}">
        <p14:creationId xmlns:p14="http://schemas.microsoft.com/office/powerpoint/2010/main" val="3886419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2608" y="421340"/>
            <a:ext cx="1905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>
              <a:defRPr sz="20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s-PE" sz="2800" dirty="0">
                <a:solidFill>
                  <a:schemeClr val="accent2">
                    <a:lumMod val="75000"/>
                  </a:schemeClr>
                </a:solidFill>
              </a:rPr>
              <a:t>Road </a:t>
            </a:r>
            <a:r>
              <a:rPr lang="es-PE" sz="2800" dirty="0" err="1">
                <a:solidFill>
                  <a:schemeClr val="accent2">
                    <a:lumMod val="75000"/>
                  </a:schemeClr>
                </a:solidFill>
              </a:rPr>
              <a:t>Map</a:t>
            </a:r>
            <a:endParaRPr lang="es-PE" sz="28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623166"/>
              </p:ext>
            </p:extLst>
          </p:nvPr>
        </p:nvGraphicFramePr>
        <p:xfrm>
          <a:off x="251521" y="1023933"/>
          <a:ext cx="8064896" cy="492534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567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  <a:gridCol w="596602"/>
              </a:tblGrid>
              <a:tr h="310099"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Iniciativa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Ene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Feb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Mar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Abr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err="1" smtClean="0">
                          <a:latin typeface="Calibri" pitchFamily="34" charset="0"/>
                        </a:rPr>
                        <a:t>May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Jun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Jul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err="1" smtClean="0">
                          <a:latin typeface="Calibri" pitchFamily="34" charset="0"/>
                        </a:rPr>
                        <a:t>Ago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Set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Oct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Nov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200" b="1" dirty="0" smtClean="0">
                          <a:latin typeface="Calibri" pitchFamily="34" charset="0"/>
                        </a:rPr>
                        <a:t>Dic</a:t>
                      </a:r>
                      <a:endParaRPr lang="es-PE" sz="12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B w="9525" cap="flat" cmpd="sng" algn="ctr">
                      <a:noFill/>
                      <a:prstDash val="solid"/>
                    </a:lnB>
                    <a:solidFill>
                      <a:srgbClr val="5A9632"/>
                    </a:solidFill>
                  </a:tcPr>
                </a:tc>
              </a:tr>
              <a:tr h="1094034">
                <a:tc>
                  <a:txBody>
                    <a:bodyPr/>
                    <a:lstStyle/>
                    <a:p>
                      <a:pPr algn="ctr"/>
                      <a:r>
                        <a:rPr lang="es-PE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ntregable</a:t>
                      </a:r>
                      <a:r>
                        <a:rPr lang="es-PE" sz="11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Principal o Frente 1</a:t>
                      </a:r>
                      <a:endParaRPr lang="es-PE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85940">
                <a:tc>
                  <a:txBody>
                    <a:bodyPr/>
                    <a:lstStyle/>
                    <a:p>
                      <a:pPr algn="ctr"/>
                      <a:r>
                        <a:rPr lang="es-PE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ntregable</a:t>
                      </a:r>
                      <a:r>
                        <a:rPr lang="es-PE" sz="11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Principal o Frente 2</a:t>
                      </a:r>
                      <a:endParaRPr lang="es-PE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26788">
                <a:tc>
                  <a:txBody>
                    <a:bodyPr/>
                    <a:lstStyle/>
                    <a:p>
                      <a:pPr algn="ctr"/>
                      <a:r>
                        <a:rPr lang="es-PE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ntregable</a:t>
                      </a:r>
                      <a:r>
                        <a:rPr lang="es-PE" sz="11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Principal o Frente 3</a:t>
                      </a:r>
                      <a:endParaRPr lang="es-PE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08486">
                <a:tc>
                  <a:txBody>
                    <a:bodyPr/>
                    <a:lstStyle/>
                    <a:p>
                      <a:pPr algn="ctr"/>
                      <a:r>
                        <a:rPr lang="es-PE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ntregable</a:t>
                      </a:r>
                      <a:r>
                        <a:rPr lang="es-PE" sz="11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Principal o Frente X</a:t>
                      </a:r>
                      <a:endParaRPr lang="es-PE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s-PE" sz="11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T="54864" marB="54864" anchor="ctr">
                    <a:lnL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Isosceles Triangle 304"/>
          <p:cNvSpPr/>
          <p:nvPr>
            <p:custDataLst>
              <p:tags r:id="rId1"/>
            </p:custDataLst>
          </p:nvPr>
        </p:nvSpPr>
        <p:spPr bwMode="gray">
          <a:xfrm>
            <a:off x="2627785" y="1395183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A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6" name="Isosceles Triangle 304"/>
          <p:cNvSpPr/>
          <p:nvPr>
            <p:custDataLst>
              <p:tags r:id="rId2"/>
            </p:custDataLst>
          </p:nvPr>
        </p:nvSpPr>
        <p:spPr bwMode="gray">
          <a:xfrm>
            <a:off x="5882104" y="1395183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A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7" name="Isosceles Triangle 304"/>
          <p:cNvSpPr/>
          <p:nvPr>
            <p:custDataLst>
              <p:tags r:id="rId3"/>
            </p:custDataLst>
          </p:nvPr>
        </p:nvSpPr>
        <p:spPr bwMode="gray">
          <a:xfrm>
            <a:off x="3998049" y="1783916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  <a:endParaRPr lang="es-PE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Isosceles Triangle 304"/>
          <p:cNvSpPr/>
          <p:nvPr>
            <p:custDataLst>
              <p:tags r:id="rId4"/>
            </p:custDataLst>
          </p:nvPr>
        </p:nvSpPr>
        <p:spPr bwMode="gray">
          <a:xfrm>
            <a:off x="7884369" y="1783916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  <a:endParaRPr lang="es-PE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Isosceles Triangle 304"/>
          <p:cNvSpPr/>
          <p:nvPr>
            <p:custDataLst>
              <p:tags r:id="rId5"/>
            </p:custDataLst>
          </p:nvPr>
        </p:nvSpPr>
        <p:spPr bwMode="gray">
          <a:xfrm>
            <a:off x="5282529" y="2173090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- xx</a:t>
            </a:r>
            <a:endParaRPr lang="es-PE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Isosceles Triangle 304"/>
          <p:cNvSpPr/>
          <p:nvPr>
            <p:custDataLst>
              <p:tags r:id="rId6"/>
            </p:custDataLst>
          </p:nvPr>
        </p:nvSpPr>
        <p:spPr bwMode="gray">
          <a:xfrm>
            <a:off x="3770361" y="4938198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Isosceles Triangle 304"/>
          <p:cNvSpPr/>
          <p:nvPr>
            <p:custDataLst>
              <p:tags r:id="rId7"/>
            </p:custDataLst>
          </p:nvPr>
        </p:nvSpPr>
        <p:spPr bwMode="gray">
          <a:xfrm>
            <a:off x="7738319" y="4764674"/>
            <a:ext cx="137905" cy="117200"/>
          </a:xfrm>
          <a:prstGeom prst="ellipse">
            <a:avLst/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  <a:p>
            <a:pPr algn="r"/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Isosceles Triangle 304"/>
          <p:cNvSpPr/>
          <p:nvPr>
            <p:custDataLst>
              <p:tags r:id="rId8"/>
            </p:custDataLst>
          </p:nvPr>
        </p:nvSpPr>
        <p:spPr bwMode="gray">
          <a:xfrm>
            <a:off x="5955129" y="4543042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Isosceles Triangle 304"/>
          <p:cNvSpPr/>
          <p:nvPr>
            <p:custDataLst>
              <p:tags r:id="rId9"/>
            </p:custDataLst>
          </p:nvPr>
        </p:nvSpPr>
        <p:spPr bwMode="gray">
          <a:xfrm>
            <a:off x="2855191" y="4155724"/>
            <a:ext cx="137905" cy="117200"/>
          </a:xfrm>
          <a:prstGeom prst="ellipse">
            <a:avLst/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A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Isosceles Triangle 304"/>
          <p:cNvSpPr/>
          <p:nvPr>
            <p:custDataLst>
              <p:tags r:id="rId10"/>
            </p:custDataLst>
          </p:nvPr>
        </p:nvSpPr>
        <p:spPr bwMode="gray">
          <a:xfrm>
            <a:off x="4632422" y="4168748"/>
            <a:ext cx="137905" cy="117200"/>
          </a:xfrm>
          <a:prstGeom prst="ellipse">
            <a:avLst/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tIns="90000" rIns="0" bIns="90000" rtlCol="0" anchor="ctr" anchorCtr="0"/>
          <a:lstStyle/>
          <a:p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Isosceles Triangle 304"/>
          <p:cNvSpPr/>
          <p:nvPr>
            <p:custDataLst>
              <p:tags r:id="rId11"/>
            </p:custDataLst>
          </p:nvPr>
        </p:nvSpPr>
        <p:spPr bwMode="gray">
          <a:xfrm>
            <a:off x="6562372" y="3391062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16" name="Isosceles Triangle 304"/>
          <p:cNvSpPr/>
          <p:nvPr>
            <p:custDataLst>
              <p:tags r:id="rId12"/>
            </p:custDataLst>
          </p:nvPr>
        </p:nvSpPr>
        <p:spPr bwMode="gray">
          <a:xfrm>
            <a:off x="5572595" y="2959014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A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17" name="Isosceles Triangle 304"/>
          <p:cNvSpPr/>
          <p:nvPr>
            <p:custDataLst>
              <p:tags r:id="rId13"/>
            </p:custDataLst>
          </p:nvPr>
        </p:nvSpPr>
        <p:spPr bwMode="gray">
          <a:xfrm>
            <a:off x="4200992" y="2959014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PE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Isosceles Triangle 304"/>
          <p:cNvSpPr/>
          <p:nvPr>
            <p:custDataLst>
              <p:tags r:id="rId14"/>
            </p:custDataLst>
          </p:nvPr>
        </p:nvSpPr>
        <p:spPr bwMode="gray">
          <a:xfrm>
            <a:off x="7082728" y="2806614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0000" rIns="360000" bIns="90000" rtlCol="0" anchor="ctr" anchorCtr="0"/>
          <a:lstStyle/>
          <a:p>
            <a:pPr algn="r"/>
            <a:r>
              <a:rPr lang="es-A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19" name="Isosceles Triangle 304"/>
          <p:cNvSpPr/>
          <p:nvPr>
            <p:custDataLst>
              <p:tags r:id="rId15"/>
            </p:custDataLst>
          </p:nvPr>
        </p:nvSpPr>
        <p:spPr bwMode="gray">
          <a:xfrm>
            <a:off x="2112143" y="2844553"/>
            <a:ext cx="137905" cy="1172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tIns="90000" rIns="0" bIns="90000" rtlCol="0" anchor="ctr" anchorCtr="0"/>
          <a:lstStyle/>
          <a:p>
            <a:r>
              <a:rPr lang="es-AR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  <a:endParaRPr lang="es-AR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4658985" y="2132856"/>
            <a:ext cx="1292808" cy="23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20 Rectángulo"/>
          <p:cNvSpPr/>
          <p:nvPr/>
        </p:nvSpPr>
        <p:spPr>
          <a:xfrm>
            <a:off x="5786584" y="3314559"/>
            <a:ext cx="1292808" cy="2348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21 Rectángulo"/>
          <p:cNvSpPr/>
          <p:nvPr/>
        </p:nvSpPr>
        <p:spPr>
          <a:xfrm>
            <a:off x="2977873" y="4879839"/>
            <a:ext cx="1292808" cy="2348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3" name="22 Rectángulo"/>
          <p:cNvSpPr/>
          <p:nvPr/>
        </p:nvSpPr>
        <p:spPr>
          <a:xfrm>
            <a:off x="7053909" y="1707413"/>
            <a:ext cx="1292808" cy="2348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24" name="23 Grupo"/>
          <p:cNvGrpSpPr/>
          <p:nvPr/>
        </p:nvGrpSpPr>
        <p:grpSpPr>
          <a:xfrm>
            <a:off x="5816330" y="6169178"/>
            <a:ext cx="3154393" cy="670044"/>
            <a:chOff x="3347465" y="6256458"/>
            <a:chExt cx="3600799" cy="558370"/>
          </a:xfrm>
        </p:grpSpPr>
        <p:sp>
          <p:nvSpPr>
            <p:cNvPr id="25" name="Isosceles Triangle 304"/>
            <p:cNvSpPr/>
            <p:nvPr>
              <p:custDataLst>
                <p:tags r:id="rId16"/>
              </p:custDataLst>
            </p:nvPr>
          </p:nvSpPr>
          <p:spPr bwMode="gray">
            <a:xfrm>
              <a:off x="6802214" y="6256458"/>
              <a:ext cx="146050" cy="127000"/>
            </a:xfrm>
            <a:prstGeom prst="triangle">
              <a:avLst>
                <a:gd name="adj" fmla="val 50000"/>
              </a:avLst>
            </a:prstGeom>
            <a:solidFill>
              <a:srgbClr val="000000"/>
            </a:solidFill>
            <a:ln w="9525">
              <a:solidFill>
                <a:srgbClr val="0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90000" rIns="360000" bIns="90000" rtlCol="0" anchor="ctr" anchorCtr="0"/>
            <a:lstStyle/>
            <a:p>
              <a:pPr algn="r"/>
              <a:r>
                <a:rPr lang="es-PE" sz="9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ito  relacionado a un proyecto tecnológico</a:t>
              </a:r>
              <a:endParaRPr lang="es-A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Isosceles Triangle 304"/>
            <p:cNvSpPr/>
            <p:nvPr>
              <p:custDataLst>
                <p:tags r:id="rId17"/>
              </p:custDataLst>
            </p:nvPr>
          </p:nvSpPr>
          <p:spPr bwMode="gray">
            <a:xfrm>
              <a:off x="6802214" y="6470352"/>
              <a:ext cx="146050" cy="1270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90000" rIns="360000" bIns="90000" rtlCol="0" anchor="ctr" anchorCtr="0"/>
            <a:lstStyle/>
            <a:p>
              <a:pPr algn="r"/>
              <a:r>
                <a:rPr lang="es-AR" sz="9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ito  No </a:t>
              </a:r>
              <a:r>
                <a:rPr lang="es-PE" sz="9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lacionado </a:t>
              </a:r>
              <a:r>
                <a:rPr lang="es-PE" sz="9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 un proyecto tecnológico </a:t>
              </a:r>
              <a:endParaRPr lang="es-AR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26 Rectángulo"/>
            <p:cNvSpPr/>
            <p:nvPr/>
          </p:nvSpPr>
          <p:spPr>
            <a:xfrm>
              <a:off x="6838727" y="6695649"/>
              <a:ext cx="109537" cy="457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rtlCol="0" anchor="ctr"/>
            <a:lstStyle/>
            <a:p>
              <a:pPr algn="ctr"/>
              <a:endParaRPr lang="es-PE" dirty="0"/>
            </a:p>
          </p:txBody>
        </p:sp>
        <p:sp>
          <p:nvSpPr>
            <p:cNvPr id="28" name="27 CuadroTexto"/>
            <p:cNvSpPr txBox="1"/>
            <p:nvPr/>
          </p:nvSpPr>
          <p:spPr>
            <a:xfrm>
              <a:off x="3347465" y="6622468"/>
              <a:ext cx="3456783" cy="1923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PE" sz="9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ito– </a:t>
              </a:r>
              <a:r>
                <a:rPr lang="es-PE" sz="9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oadmap</a:t>
              </a:r>
              <a:r>
                <a:rPr lang="es-PE" sz="9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consolidado</a:t>
              </a:r>
              <a:endParaRPr lang="es-PE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90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0" y="435596"/>
            <a:ext cx="2411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Indicadores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4211960" y="476672"/>
            <a:ext cx="493204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¿Cuáles </a:t>
            </a:r>
            <a:r>
              <a:rPr lang="es-PE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on los indicadores de éxito?</a:t>
            </a:r>
            <a:endParaRPr lang="es-PE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827585" y="3078818"/>
            <a:ext cx="2079207" cy="84195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ndicador</a:t>
            </a:r>
            <a:r>
              <a:rPr lang="es-PE" sz="1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1</a:t>
            </a:r>
            <a:endParaRPr lang="es-PE" sz="1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835901" y="4063795"/>
            <a:ext cx="2079207" cy="842400"/>
          </a:xfrm>
          <a:prstGeom prst="roundRect">
            <a:avLst/>
          </a:prstGeom>
          <a:solidFill>
            <a:srgbClr val="5A9632">
              <a:alpha val="65098"/>
            </a:srgbClr>
          </a:solidFill>
          <a:ln w="28575" algn="ctr">
            <a:noFill/>
            <a:round/>
            <a:headEnd/>
            <a:tailEnd/>
          </a:ln>
        </p:spPr>
        <p:txBody>
          <a:bodyPr wrap="squar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ＭＳ Ｐゴシック" charset="-128"/>
                <a:cs typeface="Arial" pitchFamily="34" charset="0"/>
              </a:rPr>
              <a:t>Indicador 2</a:t>
            </a:r>
          </a:p>
        </p:txBody>
      </p:sp>
      <p:sp>
        <p:nvSpPr>
          <p:cNvPr id="6" name="41 Rectángulo redondeado"/>
          <p:cNvSpPr/>
          <p:nvPr/>
        </p:nvSpPr>
        <p:spPr>
          <a:xfrm>
            <a:off x="846130" y="5042014"/>
            <a:ext cx="2080800" cy="8424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ndicador 3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3173420" y="3079673"/>
            <a:ext cx="1322832" cy="841954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  <a:endParaRPr lang="es-PE"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3173420" y="4078717"/>
            <a:ext cx="1322832" cy="8424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s-PE" sz="18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rPr>
              <a:t>MM</a:t>
            </a:r>
            <a:endParaRPr lang="es-PE" sz="1800" b="1" kern="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9" name="46 Rectángulo redondeado"/>
          <p:cNvSpPr/>
          <p:nvPr/>
        </p:nvSpPr>
        <p:spPr>
          <a:xfrm>
            <a:off x="3172133" y="5092478"/>
            <a:ext cx="1325409" cy="84240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</a:p>
        </p:txBody>
      </p:sp>
      <p:sp>
        <p:nvSpPr>
          <p:cNvPr id="10" name="30 Rectángulo redondeado"/>
          <p:cNvSpPr/>
          <p:nvPr/>
        </p:nvSpPr>
        <p:spPr>
          <a:xfrm>
            <a:off x="3129466" y="2044319"/>
            <a:ext cx="1410740" cy="90720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Meta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201x</a:t>
            </a:r>
            <a:endParaRPr lang="es-PE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ＭＳ Ｐゴシック" charset="-128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645374" y="3060333"/>
            <a:ext cx="1322832" cy="841954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  <a:endParaRPr lang="es-PE"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4645374" y="4059378"/>
            <a:ext cx="1322832" cy="8424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s-PE" sz="18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rPr>
              <a:t>MM</a:t>
            </a:r>
            <a:endParaRPr lang="es-PE" sz="1800" b="1" kern="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13" name="46 Rectángulo redondeado"/>
          <p:cNvSpPr/>
          <p:nvPr/>
        </p:nvSpPr>
        <p:spPr>
          <a:xfrm>
            <a:off x="4644087" y="5073139"/>
            <a:ext cx="1325409" cy="84240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</a:p>
        </p:txBody>
      </p:sp>
      <p:sp>
        <p:nvSpPr>
          <p:cNvPr id="14" name="30 Rectángulo redondeado"/>
          <p:cNvSpPr/>
          <p:nvPr/>
        </p:nvSpPr>
        <p:spPr>
          <a:xfrm>
            <a:off x="4601420" y="2024980"/>
            <a:ext cx="1410740" cy="90720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Real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201x</a:t>
            </a:r>
            <a:endParaRPr lang="es-PE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ＭＳ Ｐゴシック" charset="-128"/>
            </a:endParaRPr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6157542" y="3046266"/>
            <a:ext cx="1322832" cy="841954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  <a:endParaRPr lang="es-PE"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6157542" y="4045310"/>
            <a:ext cx="1322832" cy="8424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/>
          <a:lstStyle>
            <a:defPPr>
              <a:defRPr lang="es-ES_trad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s-PE" sz="18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</a:rPr>
              <a:t>MM</a:t>
            </a:r>
            <a:endParaRPr lang="es-PE" sz="1800" b="1" kern="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</a:endParaRPr>
          </a:p>
        </p:txBody>
      </p:sp>
      <p:sp>
        <p:nvSpPr>
          <p:cNvPr id="17" name="46 Rectángulo redondeado"/>
          <p:cNvSpPr/>
          <p:nvPr/>
        </p:nvSpPr>
        <p:spPr>
          <a:xfrm>
            <a:off x="6156255" y="5059072"/>
            <a:ext cx="1325409" cy="84240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itchFamily="34" charset="0"/>
              </a:rPr>
              <a:t>%</a:t>
            </a:r>
          </a:p>
        </p:txBody>
      </p:sp>
      <p:sp>
        <p:nvSpPr>
          <p:cNvPr id="18" name="30 Rectángulo redondeado"/>
          <p:cNvSpPr/>
          <p:nvPr/>
        </p:nvSpPr>
        <p:spPr>
          <a:xfrm>
            <a:off x="6113588" y="2010912"/>
            <a:ext cx="1410740" cy="90720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Meta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charset="-128"/>
              </a:rPr>
              <a:t>201x</a:t>
            </a:r>
            <a:endParaRPr lang="es-PE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7132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iDrzujE2dJOBD7k71t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rbano">
  <a:themeElements>
    <a:clrScheme name="Personalizado 13">
      <a:dk1>
        <a:sysClr val="windowText" lastClr="000000"/>
      </a:dk1>
      <a:lt1>
        <a:sysClr val="window" lastClr="FFFFFF"/>
      </a:lt1>
      <a:dk2>
        <a:srgbClr val="5A9632"/>
      </a:dk2>
      <a:lt2>
        <a:srgbClr val="DEDEDE"/>
      </a:lt2>
      <a:accent1>
        <a:srgbClr val="53548A"/>
      </a:accent1>
      <a:accent2>
        <a:srgbClr val="595959"/>
      </a:accent2>
      <a:accent3>
        <a:srgbClr val="A04DA3"/>
      </a:accent3>
      <a:accent4>
        <a:srgbClr val="C4652D"/>
      </a:accent4>
      <a:accent5>
        <a:srgbClr val="8B5D3D"/>
      </a:accent5>
      <a:accent6>
        <a:srgbClr val="92D050"/>
      </a:accent6>
      <a:hlink>
        <a:srgbClr val="67AFBD"/>
      </a:hlink>
      <a:folHlink>
        <a:srgbClr val="C2A874"/>
      </a:folHlink>
    </a:clrScheme>
    <a:fontScheme name="Urbano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Urbano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rban</Template>
  <TotalTime>22739</TotalTime>
  <Words>158</Words>
  <Application>Microsoft Office PowerPoint</Application>
  <PresentationFormat>Presentación en pantalla (4:3)</PresentationFormat>
  <Paragraphs>82</Paragraphs>
  <Slides>5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ＭＳ Ｐゴシック</vt:lpstr>
      <vt:lpstr>Arial</vt:lpstr>
      <vt:lpstr>Calibri</vt:lpstr>
      <vt:lpstr>Century Gothic</vt:lpstr>
      <vt:lpstr>Georgia</vt:lpstr>
      <vt:lpstr>Shark in the Water</vt:lpstr>
      <vt:lpstr>Trebuchet MS</vt:lpstr>
      <vt:lpstr>Wingdings 2</vt:lpstr>
      <vt:lpstr>Urban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cmejia</dc:creator>
  <cp:lastModifiedBy>Adriana Montesinos</cp:lastModifiedBy>
  <cp:revision>1400</cp:revision>
  <dcterms:created xsi:type="dcterms:W3CDTF">2012-10-29T16:23:38Z</dcterms:created>
  <dcterms:modified xsi:type="dcterms:W3CDTF">2017-11-21T21:15:59Z</dcterms:modified>
</cp:coreProperties>
</file>